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6" r:id="rId2"/>
    <p:sldId id="257" r:id="rId3"/>
    <p:sldId id="258" r:id="rId4"/>
    <p:sldId id="259" r:id="rId5"/>
    <p:sldId id="260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FAD92"/>
    <a:srgbClr val="3DAD92"/>
    <a:srgbClr val="D8F0D3"/>
    <a:srgbClr val="62BBA6"/>
    <a:srgbClr val="A6C875"/>
    <a:srgbClr val="9DC100"/>
    <a:srgbClr val="DFEEE0"/>
    <a:srgbClr val="F0F2E4"/>
    <a:srgbClr val="E3F2E4"/>
    <a:srgbClr val="96AD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>
        <p:scale>
          <a:sx n="50" d="100"/>
          <a:sy n="50" d="100"/>
        </p:scale>
        <p:origin x="88" y="4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22-4143-8740-8E8CBF8DEFB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22-4143-8740-8E8CBF8DEFB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22-4143-8740-8E8CBF8DEF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83152576"/>
        <c:axId val="574392000"/>
      </c:barChart>
      <c:catAx>
        <c:axId val="1983152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4392000"/>
        <c:crosses val="autoZero"/>
        <c:auto val="1"/>
        <c:lblAlgn val="ctr"/>
        <c:lblOffset val="100"/>
        <c:noMultiLvlLbl val="0"/>
      </c:catAx>
      <c:valAx>
        <c:axId val="5743920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3152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Category 1</cx:pt>
          <cx:pt idx="1">Category 2</cx:pt>
          <cx:pt idx="2">Category 3</cx:pt>
          <cx:pt idx="3">Category 4</cx:pt>
          <cx:pt idx="4">Part 1 Total</cx:pt>
          <cx:pt idx="5">Category 6</cx:pt>
          <cx:pt idx="6">Category 7</cx:pt>
          <cx:pt idx="7">Part 2 Total</cx:pt>
        </cx:lvl>
      </cx:strDim>
      <cx:numDim type="val">
        <cx:f>Sheet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0182A539-7A54-41F0-A12E-9F2B53BB5BAA}">
          <cx:tx>
            <cx:txData>
              <cx:f>Sheet1!$B$1</cx:f>
              <cx:v>Series1</cx:v>
            </cx:txData>
          </cx:tx>
          <cx:dataLabels pos="ctr">
            <cx:visibility seriesName="0" categoryName="0" value="1"/>
            <cx:separator>, </cx:separator>
          </cx:dataLabels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tickLabels/>
      </cx:axis>
      <cx:axis id="1">
        <cx:valScaling max="300"/>
        <cx:majorGridlines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7862</cdr:x>
      <cdr:y>0.07874</cdr:y>
    </cdr:from>
    <cdr:to>
      <cdr:x>0.7393</cdr:x>
      <cdr:y>0.23468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210CC7E8-E912-47B7-9BA6-2691B3388836}"/>
            </a:ext>
          </a:extLst>
        </cdr:cNvPr>
        <cdr:cNvSpPr/>
      </cdr:nvSpPr>
      <cdr:spPr>
        <a:xfrm xmlns:a="http://schemas.openxmlformats.org/drawingml/2006/main">
          <a:off x="510346" y="320613"/>
          <a:ext cx="4288665" cy="635000"/>
        </a:xfrm>
        <a:prstGeom xmlns:a="http://schemas.openxmlformats.org/drawingml/2006/main" prst="rect">
          <a:avLst/>
        </a:prstGeom>
        <a:solidFill xmlns:a="http://schemas.openxmlformats.org/drawingml/2006/main">
          <a:schemeClr val="tx2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anchor="ctr"/>
        <a:lstStyle xmlns:a="http://schemas.openxmlformats.org/drawingml/2006/main"/>
        <a:p xmlns:a="http://schemas.openxmlformats.org/drawingml/2006/main">
          <a:pPr algn="ctr"/>
          <a:r>
            <a:rPr lang="en-US" sz="18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robably some callout goes here!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2A1F07-E5D8-4CFC-BB86-478067A77D70}" type="datetimeFigureOut">
              <a:rPr lang="en-CA" smtClean="0"/>
              <a:t>2020-12-21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3E14E7-302D-4E5A-A2EC-65C056F7ED1D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33914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6806D7-E6F3-4464-AF02-8E34851609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94225" y="296863"/>
            <a:ext cx="7337247" cy="6264275"/>
          </a:xfrm>
        </p:spPr>
        <p:txBody>
          <a:bodyPr/>
          <a:lstStyle/>
          <a:p>
            <a:endParaRPr lang="en-C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95FE4B-BB41-44F6-8364-38F53D30EBFB}"/>
              </a:ext>
            </a:extLst>
          </p:cNvPr>
          <p:cNvSpPr/>
          <p:nvPr userDrawn="1"/>
        </p:nvSpPr>
        <p:spPr>
          <a:xfrm>
            <a:off x="260527" y="296862"/>
            <a:ext cx="4052427" cy="6264275"/>
          </a:xfrm>
          <a:prstGeom prst="rect">
            <a:avLst/>
          </a:prstGeom>
          <a:solidFill>
            <a:srgbClr val="3FAD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EBFA1F-50D0-4AD0-BF07-D0B2A4CC1A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3191" y="683491"/>
            <a:ext cx="3347099" cy="2189018"/>
          </a:xfrm>
        </p:spPr>
        <p:txBody>
          <a:bodyPr anchor="b">
            <a:noAutofit/>
          </a:bodyPr>
          <a:lstStyle>
            <a:lvl1pPr algn="l">
              <a:defRPr sz="3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52687E-877C-4538-9ABD-9189920B19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3191" y="2917467"/>
            <a:ext cx="3347099" cy="1655762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CA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2FE367-5F67-4FF1-9F8C-AFF1085FA8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0674FC-00DB-4887-96A4-185FCFA254D4}" type="datetime1">
              <a:rPr lang="en-CA" smtClean="0"/>
              <a:t>2020-12-2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2C7369-6F69-43DB-99CD-833E6B55A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27575" y="6324117"/>
            <a:ext cx="5016499" cy="123111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C68547-3770-4356-9C6B-C9977456D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327783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97A149-8749-4878-A30A-0A55462A68F5}"/>
              </a:ext>
            </a:extLst>
          </p:cNvPr>
          <p:cNvSpPr/>
          <p:nvPr userDrawn="1"/>
        </p:nvSpPr>
        <p:spPr>
          <a:xfrm>
            <a:off x="4603467" y="296864"/>
            <a:ext cx="7337708" cy="6254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395633-150C-467F-BCE4-B328CE24C0AC}"/>
              </a:ext>
            </a:extLst>
          </p:cNvPr>
          <p:cNvSpPr/>
          <p:nvPr userDrawn="1"/>
        </p:nvSpPr>
        <p:spPr>
          <a:xfrm>
            <a:off x="260527" y="296862"/>
            <a:ext cx="4052427" cy="62642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54E9A9-FB27-4C68-BC58-9024EA4900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1027906"/>
            <a:ext cx="3177892" cy="4957258"/>
          </a:xfrm>
        </p:spPr>
        <p:txBody>
          <a:bodyPr anchor="t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Ideally, background of title is picture with green overlay!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5C12A3-D9B9-456A-92CF-2D22ADF189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027906"/>
            <a:ext cx="6172200" cy="495725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619501-934A-4E52-BE21-6901033DA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B98637-C117-4C3E-90E2-B465F8392EEE}" type="datetime1">
              <a:rPr lang="en-CA" smtClean="0"/>
              <a:t>2020-12-2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11A18F-FDBE-488F-BED3-3E614B121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32337" y="6324117"/>
            <a:ext cx="5011737" cy="123111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D6AF1B-61A6-43F0-A5EC-1D2D823D06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DA5EA37-E9A9-4596-9976-8E7A05C621A5}"/>
              </a:ext>
            </a:extLst>
          </p:cNvPr>
          <p:cNvSpPr/>
          <p:nvPr userDrawn="1"/>
        </p:nvSpPr>
        <p:spPr>
          <a:xfrm>
            <a:off x="0" y="1027906"/>
            <a:ext cx="549275" cy="729673"/>
          </a:xfrm>
          <a:prstGeom prst="rect">
            <a:avLst/>
          </a:prstGeom>
          <a:solidFill>
            <a:schemeClr val="accent5">
              <a:alpha val="4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94465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Pictur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25196F5-880F-4747-A6AD-7533DAFDE597}"/>
              </a:ext>
            </a:extLst>
          </p:cNvPr>
          <p:cNvSpPr/>
          <p:nvPr userDrawn="1"/>
        </p:nvSpPr>
        <p:spPr>
          <a:xfrm>
            <a:off x="263524" y="296864"/>
            <a:ext cx="7343775" cy="6254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67E7A7-EC76-4068-B6F5-13F1C17E5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027906"/>
            <a:ext cx="6491287" cy="729673"/>
          </a:xfrm>
        </p:spPr>
        <p:txBody>
          <a:bodyPr anchor="t"/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E9DC68-D8EC-4C34-A928-C2C3F1316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9C3FDC-6EFA-414F-A1FA-D143CE0EB955}" type="datetime1">
              <a:rPr lang="en-CA" smtClean="0"/>
              <a:t>2020-12-2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EE55BF-456D-443E-A010-2018C9739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809179-B72E-4F48-B4B1-BF776ACC9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24C88C-104D-4C20-A979-EFF88539EEA3}"/>
              </a:ext>
            </a:extLst>
          </p:cNvPr>
          <p:cNvSpPr/>
          <p:nvPr userDrawn="1"/>
        </p:nvSpPr>
        <p:spPr>
          <a:xfrm>
            <a:off x="0" y="1027906"/>
            <a:ext cx="549275" cy="729673"/>
          </a:xfrm>
          <a:prstGeom prst="rect">
            <a:avLst/>
          </a:prstGeom>
          <a:solidFill>
            <a:schemeClr val="accent5">
              <a:alpha val="4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413A262-7743-4359-96AE-45CCE3CE8D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876048" y="296864"/>
            <a:ext cx="4052427" cy="625474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1DD1530-3333-4D2F-A309-EB9EED2C82E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8" y="2006600"/>
            <a:ext cx="6491287" cy="40724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FCB2241-F496-4B42-AC86-FD5B16161692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31850" y="789044"/>
            <a:ext cx="6491287" cy="192179"/>
          </a:xfrm>
        </p:spPr>
        <p:txBody>
          <a:bodyPr anchor="ctr">
            <a:noAutofit/>
          </a:bodyPr>
          <a:lstStyle>
            <a:lvl1pPr marL="0" indent="0">
              <a:buNone/>
              <a:defRPr lang="en-US" sz="1000" b="0" kern="1200" spc="50" baseline="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67536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r Chart with Pictur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25196F5-880F-4747-A6AD-7533DAFDE597}"/>
              </a:ext>
            </a:extLst>
          </p:cNvPr>
          <p:cNvSpPr/>
          <p:nvPr userDrawn="1"/>
        </p:nvSpPr>
        <p:spPr>
          <a:xfrm>
            <a:off x="263524" y="296864"/>
            <a:ext cx="8428089" cy="6254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67E7A7-EC76-4068-B6F5-13F1C17E5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027906"/>
            <a:ext cx="6491287" cy="729673"/>
          </a:xfrm>
        </p:spPr>
        <p:txBody>
          <a:bodyPr anchor="t"/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E9DC68-D8EC-4C34-A928-C2C3F1316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8945A-7462-410D-B8EA-3C7AA1244D82}" type="datetime1">
              <a:rPr lang="en-CA" smtClean="0"/>
              <a:t>2020-12-2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EE55BF-456D-443E-A010-2018C9739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809179-B72E-4F48-B4B1-BF776ACC9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413A262-7743-4359-96AE-45CCE3CE8D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8982126" y="296864"/>
            <a:ext cx="2946349" cy="625474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1DD1530-3333-4D2F-A309-EB9EED2C82E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8" y="2006600"/>
            <a:ext cx="7495645" cy="40724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778D439-EE85-4DF0-A514-31A7BA42687A}"/>
              </a:ext>
            </a:extLst>
          </p:cNvPr>
          <p:cNvSpPr/>
          <p:nvPr userDrawn="1"/>
        </p:nvSpPr>
        <p:spPr>
          <a:xfrm>
            <a:off x="0" y="1027906"/>
            <a:ext cx="549275" cy="729673"/>
          </a:xfrm>
          <a:prstGeom prst="rect">
            <a:avLst/>
          </a:prstGeom>
          <a:solidFill>
            <a:schemeClr val="accent5">
              <a:alpha val="4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E445AE1-9E2A-4A67-9327-C9DFA29B505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31850" y="789044"/>
            <a:ext cx="6491287" cy="192179"/>
          </a:xfrm>
        </p:spPr>
        <p:txBody>
          <a:bodyPr anchor="ctr">
            <a:noAutofit/>
          </a:bodyPr>
          <a:lstStyle>
            <a:lvl1pPr marL="0" indent="0">
              <a:buNone/>
              <a:defRPr lang="en-US" sz="1000" b="0" kern="1200" spc="50" baseline="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52768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Pictur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25196F5-880F-4747-A6AD-7533DAFDE597}"/>
              </a:ext>
            </a:extLst>
          </p:cNvPr>
          <p:cNvSpPr/>
          <p:nvPr userDrawn="1"/>
        </p:nvSpPr>
        <p:spPr>
          <a:xfrm>
            <a:off x="4594977" y="296864"/>
            <a:ext cx="7343775" cy="6254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67E7A7-EC76-4068-B6F5-13F1C17E5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1241" y="1027906"/>
            <a:ext cx="6491287" cy="729673"/>
          </a:xfrm>
        </p:spPr>
        <p:txBody>
          <a:bodyPr anchor="t"/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E9DC68-D8EC-4C34-A928-C2C3F1316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87462-BDC6-472C-856E-62372B9FE5F8}" type="datetime1">
              <a:rPr lang="en-CA" smtClean="0"/>
              <a:t>2020-12-2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EE55BF-456D-443E-A010-2018C9739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809179-B72E-4F48-B4B1-BF776ACC9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413A262-7743-4359-96AE-45CCE3CE8D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266326" y="296864"/>
            <a:ext cx="4052427" cy="625474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1DD1530-3333-4D2F-A309-EB9EED2C82E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71241" y="2006600"/>
            <a:ext cx="6491287" cy="40724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757E10-981C-4CE2-A226-7A2DC4BB77D4}"/>
              </a:ext>
            </a:extLst>
          </p:cNvPr>
          <p:cNvSpPr/>
          <p:nvPr userDrawn="1"/>
        </p:nvSpPr>
        <p:spPr>
          <a:xfrm>
            <a:off x="4320339" y="1027906"/>
            <a:ext cx="549275" cy="729673"/>
          </a:xfrm>
          <a:prstGeom prst="rect">
            <a:avLst/>
          </a:prstGeom>
          <a:solidFill>
            <a:schemeClr val="accent5">
              <a:alpha val="4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7258F34-54DA-4FD3-83D1-806CC23DC04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171241" y="789044"/>
            <a:ext cx="2151896" cy="192179"/>
          </a:xfrm>
        </p:spPr>
        <p:txBody>
          <a:bodyPr anchor="ctr">
            <a:noAutofit/>
          </a:bodyPr>
          <a:lstStyle>
            <a:lvl1pPr marL="0" indent="0">
              <a:buNone/>
              <a:defRPr lang="en-US" sz="1000" b="0" kern="1200" spc="50" baseline="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47178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r Chart with Pictur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25196F5-880F-4747-A6AD-7533DAFDE597}"/>
              </a:ext>
            </a:extLst>
          </p:cNvPr>
          <p:cNvSpPr/>
          <p:nvPr userDrawn="1"/>
        </p:nvSpPr>
        <p:spPr>
          <a:xfrm>
            <a:off x="3500120" y="296864"/>
            <a:ext cx="8438633" cy="6254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67E7A7-EC76-4068-B6F5-13F1C17E5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9395" y="1027906"/>
            <a:ext cx="6502733" cy="729673"/>
          </a:xfrm>
        </p:spPr>
        <p:txBody>
          <a:bodyPr anchor="t"/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E9DC68-D8EC-4C34-A928-C2C3F1316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5266A5-1F57-4292-8A09-DB6FADBA2757}" type="datetime1">
              <a:rPr lang="en-CA" smtClean="0"/>
              <a:t>2020-12-2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EE55BF-456D-443E-A010-2018C9739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809179-B72E-4F48-B4B1-BF776ACC9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413A262-7743-4359-96AE-45CCE3CE8D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266326" y="306390"/>
            <a:ext cx="2957165" cy="625474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1DD1530-3333-4D2F-A309-EB9EED2C82E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49395" y="2006600"/>
            <a:ext cx="7613133" cy="40724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04F94B-5848-47AD-BF8B-B3DA6CAB5D55}"/>
              </a:ext>
            </a:extLst>
          </p:cNvPr>
          <p:cNvSpPr/>
          <p:nvPr userDrawn="1"/>
        </p:nvSpPr>
        <p:spPr>
          <a:xfrm>
            <a:off x="3223491" y="1027906"/>
            <a:ext cx="549275" cy="729673"/>
          </a:xfrm>
          <a:prstGeom prst="rect">
            <a:avLst/>
          </a:prstGeom>
          <a:solidFill>
            <a:schemeClr val="accent5">
              <a:alpha val="4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C6F0A57-1AB5-49B5-B8DD-914BCB71195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049395" y="789044"/>
            <a:ext cx="3273742" cy="192179"/>
          </a:xfrm>
        </p:spPr>
        <p:txBody>
          <a:bodyPr anchor="ctr">
            <a:noAutofit/>
          </a:bodyPr>
          <a:lstStyle>
            <a:lvl1pPr marL="0" indent="0">
              <a:buNone/>
              <a:defRPr lang="en-US" sz="1000" b="0" kern="1200" spc="50" baseline="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40171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 Ou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B30EB45-35B9-47A5-A4AD-7FFDBA92AA26}"/>
              </a:ext>
            </a:extLst>
          </p:cNvPr>
          <p:cNvSpPr/>
          <p:nvPr userDrawn="1"/>
        </p:nvSpPr>
        <p:spPr>
          <a:xfrm>
            <a:off x="263525" y="306390"/>
            <a:ext cx="2957165" cy="62642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25196F5-880F-4747-A6AD-7533DAFDE597}"/>
              </a:ext>
            </a:extLst>
          </p:cNvPr>
          <p:cNvSpPr/>
          <p:nvPr userDrawn="1"/>
        </p:nvSpPr>
        <p:spPr>
          <a:xfrm>
            <a:off x="3220690" y="296864"/>
            <a:ext cx="8718063" cy="6254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67E7A7-EC76-4068-B6F5-13F1C17E5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706" y="1027906"/>
            <a:ext cx="2102454" cy="2401093"/>
          </a:xfrm>
        </p:spPr>
        <p:txBody>
          <a:bodyPr anchor="t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E9DC68-D8EC-4C34-A928-C2C3F1316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57198C-1580-4367-A5B5-88D2373BDD81}" type="datetime1">
              <a:rPr lang="en-CA" smtClean="0"/>
              <a:t>2020-12-2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EE55BF-456D-443E-A010-2018C9739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809179-B72E-4F48-B4B1-BF776ACC9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1DD1530-3333-4D2F-A309-EB9EED2C82E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4215" y="1272956"/>
            <a:ext cx="8178313" cy="48061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80F6FCC-586B-4C5D-962F-FDE4ED7AAF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84214" y="558265"/>
            <a:ext cx="7863235" cy="469641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4FD12DA-6475-4E2D-8F50-74C052962592}"/>
              </a:ext>
            </a:extLst>
          </p:cNvPr>
          <p:cNvSpPr/>
          <p:nvPr userDrawn="1"/>
        </p:nvSpPr>
        <p:spPr>
          <a:xfrm>
            <a:off x="0" y="1027906"/>
            <a:ext cx="549275" cy="729673"/>
          </a:xfrm>
          <a:prstGeom prst="rect">
            <a:avLst/>
          </a:prstGeom>
          <a:solidFill>
            <a:schemeClr val="accent5">
              <a:alpha val="4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6CB8FC0-EBE7-4666-96B8-EFA6A5B870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71" y="3438525"/>
            <a:ext cx="2102454" cy="2640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7795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3ED8B7A-E8D4-493F-8F02-424AE0D27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94013-584E-4D77-9EEB-C3E480BF57CA}" type="datetime1">
              <a:rPr lang="en-CA" smtClean="0"/>
              <a:t>2020-12-21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6E0AEC-4ACF-4A0A-93BA-1E5111E021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06B1E6-6B81-4711-80B8-367D77F725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697918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2B6D0E-4A5D-43C8-9E88-33684D78D5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24CCFF0-03FE-4202-A7A5-5B1D937B20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49AE86-AC90-4890-9A33-8178C55B89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D8F0F-86DA-40D2-BA7D-1671ED534B52}" type="datetime1">
              <a:rPr lang="en-CA" smtClean="0"/>
              <a:t>2020-12-2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49F459-3468-451D-998B-F3F33A4BF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05EED5-71E3-425B-8A00-9ED27B56A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5C77073-5CAB-4181-96BB-54ECE2EFBDF3}"/>
              </a:ext>
            </a:extLst>
          </p:cNvPr>
          <p:cNvSpPr/>
          <p:nvPr userDrawn="1"/>
        </p:nvSpPr>
        <p:spPr>
          <a:xfrm>
            <a:off x="0" y="1027906"/>
            <a:ext cx="549275" cy="729673"/>
          </a:xfrm>
          <a:prstGeom prst="rect">
            <a:avLst/>
          </a:prstGeom>
          <a:solidFill>
            <a:srgbClr val="D8F0D3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3143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C450A86-9D29-4B6F-9049-19CD9FAF1D7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9491CD-B2E8-418C-8790-1C2AE47677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F21967-0A24-4628-9BBE-84D656DE65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DE13B-30DA-4839-B19C-5AD35729DB45}" type="datetime1">
              <a:rPr lang="en-CA" smtClean="0"/>
              <a:t>2020-12-2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474453-E380-454A-8EA0-DC3FE4BA7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AF2557-7AAB-40B9-A898-5C034B1D9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A566341-5A25-45B9-BD29-24CC5A8C093A}"/>
              </a:ext>
            </a:extLst>
          </p:cNvPr>
          <p:cNvSpPr/>
          <p:nvPr userDrawn="1"/>
        </p:nvSpPr>
        <p:spPr>
          <a:xfrm>
            <a:off x="0" y="1027906"/>
            <a:ext cx="549275" cy="729673"/>
          </a:xfrm>
          <a:prstGeom prst="rect">
            <a:avLst/>
          </a:prstGeom>
          <a:solidFill>
            <a:srgbClr val="D8F0D3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8046944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EE17F7E-11E4-48E3-AD8F-5B911638D430}"/>
              </a:ext>
            </a:extLst>
          </p:cNvPr>
          <p:cNvSpPr/>
          <p:nvPr userDrawn="1"/>
        </p:nvSpPr>
        <p:spPr>
          <a:xfrm>
            <a:off x="260527" y="296862"/>
            <a:ext cx="4754235" cy="6264275"/>
          </a:xfrm>
          <a:prstGeom prst="rect">
            <a:avLst/>
          </a:prstGeom>
          <a:solidFill>
            <a:schemeClr val="accent1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88F975-6C0B-46E1-A8DC-654113159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27906"/>
            <a:ext cx="3896783" cy="729673"/>
          </a:xfrm>
        </p:spPr>
        <p:txBody>
          <a:bodyPr/>
          <a:lstStyle>
            <a:lvl1pPr>
              <a:tabLst>
                <a:tab pos="1435100" algn="l"/>
              </a:tabLs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AA946C-38EA-464E-8BF2-5B677B0AED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896783" cy="4351338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4A7FE6-4AC1-4A2F-A1CD-137A57BE54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68231-D87D-4D26-97AC-639006A9367D}" type="datetime1">
              <a:rPr lang="en-CA" smtClean="0"/>
              <a:t>2020-12-2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D8904D-B383-4F3D-AF40-53D8F40B0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087F03-D83E-495E-96C8-E7D715160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486803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F6CF86D-44A7-4AFB-8898-512A09E669EB}"/>
              </a:ext>
            </a:extLst>
          </p:cNvPr>
          <p:cNvSpPr/>
          <p:nvPr userDrawn="1"/>
        </p:nvSpPr>
        <p:spPr>
          <a:xfrm>
            <a:off x="263524" y="306390"/>
            <a:ext cx="11664951" cy="62547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035C38-EC4F-4E33-A86E-3271A04C2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27906"/>
            <a:ext cx="10515600" cy="7296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EE5FCB-C849-42E0-9DFD-2D2B79F00D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A42E2-D26E-405B-8D6B-224A9145D758}" type="datetime1">
              <a:rPr lang="en-CA" smtClean="0"/>
              <a:t>2020-12-21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8BB8B8-50EF-4699-AE9E-F91FE4BDC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ACE151-627F-425D-961B-EFB071486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0FA172-2F00-4075-B89E-F1946C493941}"/>
              </a:ext>
            </a:extLst>
          </p:cNvPr>
          <p:cNvSpPr/>
          <p:nvPr userDrawn="1"/>
        </p:nvSpPr>
        <p:spPr>
          <a:xfrm>
            <a:off x="0" y="1027906"/>
            <a:ext cx="549275" cy="729673"/>
          </a:xfrm>
          <a:prstGeom prst="rect">
            <a:avLst/>
          </a:prstGeom>
          <a:solidFill>
            <a:schemeClr val="accent5">
              <a:alpha val="4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561500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cket Transition with Breakdow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97A149-8749-4878-A30A-0A55462A68F5}"/>
              </a:ext>
            </a:extLst>
          </p:cNvPr>
          <p:cNvSpPr/>
          <p:nvPr userDrawn="1"/>
        </p:nvSpPr>
        <p:spPr>
          <a:xfrm>
            <a:off x="4603467" y="296864"/>
            <a:ext cx="7337708" cy="6254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395633-150C-467F-BCE4-B328CE24C0AC}"/>
              </a:ext>
            </a:extLst>
          </p:cNvPr>
          <p:cNvSpPr/>
          <p:nvPr userDrawn="1"/>
        </p:nvSpPr>
        <p:spPr>
          <a:xfrm>
            <a:off x="260527" y="296862"/>
            <a:ext cx="4052427" cy="62642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54E9A9-FB27-4C68-BC58-9024EA4900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1027906"/>
            <a:ext cx="3177892" cy="4957258"/>
          </a:xfrm>
        </p:spPr>
        <p:txBody>
          <a:bodyPr anchor="t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 items go here</a:t>
            </a:r>
            <a:br>
              <a:rPr lang="en-US" dirty="0"/>
            </a:br>
            <a:r>
              <a:rPr lang="en-US" dirty="0"/>
              <a:t>Bold </a:t>
            </a:r>
            <a:r>
              <a:rPr lang="en-US" b="1" dirty="0"/>
              <a:t>current section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5C12A3-D9B9-456A-92CF-2D22ADF189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027906"/>
            <a:ext cx="6172200" cy="495725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619501-934A-4E52-BE21-6901033DA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C559F-59CF-45F1-B798-5A20C092E6B6}" type="datetime1">
              <a:rPr lang="en-CA" smtClean="0"/>
              <a:t>2020-12-2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11A18F-FDBE-488F-BED3-3E614B121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32337" y="6324117"/>
            <a:ext cx="5011737" cy="123111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D6AF1B-61A6-43F0-A5EC-1D2D823D06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96304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cket Transi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7395633-150C-467F-BCE4-B328CE24C0AC}"/>
              </a:ext>
            </a:extLst>
          </p:cNvPr>
          <p:cNvSpPr/>
          <p:nvPr userDrawn="1"/>
        </p:nvSpPr>
        <p:spPr>
          <a:xfrm>
            <a:off x="260527" y="296862"/>
            <a:ext cx="4052427" cy="62642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54E9A9-FB27-4C68-BC58-9024EA4900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1027906"/>
            <a:ext cx="3177892" cy="4957258"/>
          </a:xfrm>
        </p:spPr>
        <p:txBody>
          <a:bodyPr anchor="t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 items go here</a:t>
            </a:r>
            <a:br>
              <a:rPr lang="en-US" dirty="0"/>
            </a:br>
            <a:r>
              <a:rPr lang="en-US" dirty="0"/>
              <a:t>Bold </a:t>
            </a:r>
            <a:r>
              <a:rPr lang="en-US" b="1" dirty="0"/>
              <a:t>current section</a:t>
            </a:r>
            <a:endParaRPr lang="en-CA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619501-934A-4E52-BE21-6901033DA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2400ED-5DBC-44FD-A486-6AC0F2B69E62}" type="datetime1">
              <a:rPr lang="en-CA" smtClean="0"/>
              <a:t>2020-12-2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11A18F-FDBE-488F-BED3-3E614B121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32337" y="6324117"/>
            <a:ext cx="5011737" cy="123111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D6AF1B-61A6-43F0-A5EC-1D2D823D06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066E051-DBEE-4423-8C39-B3495CB375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96941" y="296863"/>
            <a:ext cx="7331075" cy="6264275"/>
          </a:xfrm>
        </p:spPr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70558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5C03FF-D6FC-493B-B2BC-3F40805D3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EB2F09-A50E-4CAF-9996-3E731B85A8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64EFB9-6649-4FFD-A540-4C1BB6B1A0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4A8B7-64AB-4775-A55E-3B0A6EAF5AD3}" type="datetime1">
              <a:rPr lang="en-CA" smtClean="0"/>
              <a:t>2020-12-2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3BAF2E-8D89-4334-8580-D43C684899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246AF9-2ABE-4B80-924F-798B3583F3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92105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20EF9C5-75A0-4446-B4A5-B7C2DEE743E5}"/>
              </a:ext>
            </a:extLst>
          </p:cNvPr>
          <p:cNvSpPr/>
          <p:nvPr userDrawn="1"/>
        </p:nvSpPr>
        <p:spPr>
          <a:xfrm>
            <a:off x="263524" y="296864"/>
            <a:ext cx="11664951" cy="6254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34363B-36AD-486B-A3D8-F5CCBEB74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27905"/>
            <a:ext cx="10515600" cy="72967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E8BCB9-B65C-4127-B953-3D62D71F29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96439"/>
            <a:ext cx="10515600" cy="418052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1449F0-3EE1-4F6E-9B19-86E31CFF2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B46863-C4A6-45DC-BC11-61BF8821B494}" type="datetime1">
              <a:rPr lang="en-CA" smtClean="0"/>
              <a:t>2020-12-2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FB28BE-7D6D-4C58-ADBF-14C7635081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96B90B-55C9-44CB-9D65-7FC92314F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3BE50A-6D60-43CA-8D77-A90BDE16A9A5}"/>
              </a:ext>
            </a:extLst>
          </p:cNvPr>
          <p:cNvSpPr/>
          <p:nvPr userDrawn="1"/>
        </p:nvSpPr>
        <p:spPr>
          <a:xfrm>
            <a:off x="0" y="1027906"/>
            <a:ext cx="549275" cy="729673"/>
          </a:xfrm>
          <a:prstGeom prst="rect">
            <a:avLst/>
          </a:prstGeom>
          <a:solidFill>
            <a:srgbClr val="D8F0D3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F4A6F22-65D7-486A-B105-C54941E9592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1850" y="789044"/>
            <a:ext cx="10515600" cy="192179"/>
          </a:xfrm>
        </p:spPr>
        <p:txBody>
          <a:bodyPr anchor="ctr">
            <a:noAutofit/>
          </a:bodyPr>
          <a:lstStyle>
            <a:lvl1pPr marL="0" indent="0">
              <a:buNone/>
              <a:defRPr sz="1000" b="0" spc="5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05652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14281A0-FF96-43B1-BC39-BDFCB7A04291}"/>
              </a:ext>
            </a:extLst>
          </p:cNvPr>
          <p:cNvSpPr/>
          <p:nvPr userDrawn="1"/>
        </p:nvSpPr>
        <p:spPr>
          <a:xfrm>
            <a:off x="263524" y="192480"/>
            <a:ext cx="11664951" cy="6254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A39391-C10F-4444-95EA-EBE3BEA630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027905"/>
            <a:ext cx="10515600" cy="72967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682A8B-506A-4325-96E1-ED9BF91B6A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775401"/>
            <a:ext cx="5157787" cy="729674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9187DC6-F279-4849-BEF9-86C10D881A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4A8180-71B2-432A-8EEC-647B7831ED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775401"/>
            <a:ext cx="5183188" cy="729674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9EE54BF-1C3D-499D-BF35-5C857DC304A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ACEB3B-5E31-4084-8C14-C5F239F96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A49521-4C06-4C00-8B87-4DC7A4B2599D}" type="datetime1">
              <a:rPr lang="en-CA" smtClean="0"/>
              <a:t>2020-12-21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653F94A-EB1E-44CA-8B74-690D43294F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0A6A4C-19B7-40F6-AFD6-9E395AB1E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AC025D-DDAA-436C-BAA1-02C385ABA753}"/>
              </a:ext>
            </a:extLst>
          </p:cNvPr>
          <p:cNvSpPr/>
          <p:nvPr userDrawn="1"/>
        </p:nvSpPr>
        <p:spPr>
          <a:xfrm>
            <a:off x="0" y="1027906"/>
            <a:ext cx="549275" cy="729673"/>
          </a:xfrm>
          <a:prstGeom prst="rect">
            <a:avLst/>
          </a:prstGeom>
          <a:solidFill>
            <a:schemeClr val="accent5">
              <a:alpha val="4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8EC2F0-C63C-4264-903F-BEFCD663D361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39788" y="789044"/>
            <a:ext cx="6483349" cy="192179"/>
          </a:xfrm>
        </p:spPr>
        <p:txBody>
          <a:bodyPr anchor="ctr">
            <a:noAutofit/>
          </a:bodyPr>
          <a:lstStyle>
            <a:lvl1pPr marL="0" indent="0">
              <a:buNone/>
              <a:defRPr lang="en-US" sz="1000" b="0" kern="1200" spc="50" baseline="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6148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F6CF86D-44A7-4AFB-8898-512A09E669EB}"/>
              </a:ext>
            </a:extLst>
          </p:cNvPr>
          <p:cNvSpPr/>
          <p:nvPr userDrawn="1"/>
        </p:nvSpPr>
        <p:spPr>
          <a:xfrm>
            <a:off x="263524" y="306390"/>
            <a:ext cx="11664951" cy="6254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035C38-EC4F-4E33-A86E-3271A04C2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27906"/>
            <a:ext cx="10515600" cy="72967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EE5FCB-C849-42E0-9DFD-2D2B79F00D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012BB-C6B2-4F8C-9E44-256C06F51C20}" type="datetime1">
              <a:rPr lang="en-CA" smtClean="0"/>
              <a:t>2020-12-21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8BB8B8-50EF-4699-AE9E-F91FE4BDC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ACE151-627F-425D-961B-EFB071486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0FA172-2F00-4075-B89E-F1946C493941}"/>
              </a:ext>
            </a:extLst>
          </p:cNvPr>
          <p:cNvSpPr/>
          <p:nvPr userDrawn="1"/>
        </p:nvSpPr>
        <p:spPr>
          <a:xfrm>
            <a:off x="0" y="1027906"/>
            <a:ext cx="549275" cy="729673"/>
          </a:xfrm>
          <a:prstGeom prst="rect">
            <a:avLst/>
          </a:prstGeom>
          <a:solidFill>
            <a:schemeClr val="accent5">
              <a:alpha val="4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5E6300-0EF2-4116-BAF6-F0418EAE496B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38200" y="789044"/>
            <a:ext cx="6484937" cy="192179"/>
          </a:xfrm>
        </p:spPr>
        <p:txBody>
          <a:bodyPr anchor="ctr">
            <a:noAutofit/>
          </a:bodyPr>
          <a:lstStyle>
            <a:lvl1pPr marL="0" indent="0">
              <a:buNone/>
              <a:defRPr lang="en-US" sz="1000" b="0" kern="1200" spc="50" baseline="0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0554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8D3CFB-39A1-4979-A4BE-259EBA97E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5FDE31-6700-41AB-AFA2-7D854DC7CE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3C2365-9148-4624-8166-BE4FF85A90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44075" y="6324118"/>
            <a:ext cx="1609725" cy="1231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B8C53F-9A89-4B19-8F13-04A20C35903E}" type="datetime1">
              <a:rPr lang="en-CA" smtClean="0"/>
              <a:t>2020-12-21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A10BD-2913-4E57-B146-9CEFADCE1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8" y="6324117"/>
            <a:ext cx="9348787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i="0" u="none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1B6FEE-C2FB-44B0-A376-C92BDFD29F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24118"/>
            <a:ext cx="442912" cy="1231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43F0E6-CCD9-4315-99DB-C5BD57829A10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73580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64" r:id="rId3"/>
    <p:sldLayoutId id="2147483665" r:id="rId4"/>
    <p:sldLayoutId id="2147483666" r:id="rId5"/>
    <p:sldLayoutId id="2147483651" r:id="rId6"/>
    <p:sldLayoutId id="2147483650" r:id="rId7"/>
    <p:sldLayoutId id="2147483653" r:id="rId8"/>
    <p:sldLayoutId id="2147483654" r:id="rId9"/>
    <p:sldLayoutId id="2147483656" r:id="rId10"/>
    <p:sldLayoutId id="2147483657" r:id="rId11"/>
    <p:sldLayoutId id="2147483661" r:id="rId12"/>
    <p:sldLayoutId id="2147483660" r:id="rId13"/>
    <p:sldLayoutId id="2147483662" r:id="rId14"/>
    <p:sldLayoutId id="2147483663" r:id="rId15"/>
    <p:sldLayoutId id="2147483655" r:id="rId16"/>
    <p:sldLayoutId id="2147483658" r:id="rId17"/>
    <p:sldLayoutId id="2147483659" r:id="rId1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33" userDrawn="1">
          <p15:clr>
            <a:srgbClr val="F26B43"/>
          </p15:clr>
        </p15:guide>
        <p15:guide id="2" pos="166" userDrawn="1">
          <p15:clr>
            <a:srgbClr val="F26B43"/>
          </p15:clr>
        </p15:guide>
        <p15:guide id="3" pos="7514" userDrawn="1">
          <p15:clr>
            <a:srgbClr val="F26B43"/>
          </p15:clr>
        </p15:guide>
        <p15:guide id="4" orient="horz" pos="1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a.ford.com/content/dam/fordmedia/North%20America/US/2020/09/17/Boston-Consulting-Group-Report.pdf" TargetMode="External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car parked in a field&#10;&#10;Description automatically generated">
            <a:extLst>
              <a:ext uri="{FF2B5EF4-FFF2-40B4-BE49-F238E27FC236}">
                <a16:creationId xmlns:a16="http://schemas.microsoft.com/office/drawing/2014/main" id="{B26E16D1-A275-42D6-AEC6-70BD19F4556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80" r="6180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8D2E8D4-867E-41E2-A6FD-5D89A51E981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CA" dirty="0"/>
              <a:t>The Economic Impact of </a:t>
            </a:r>
            <a:br>
              <a:rPr lang="en-CA" dirty="0"/>
            </a:br>
            <a:r>
              <a:rPr lang="en-CA" dirty="0"/>
              <a:t>Ford and the </a:t>
            </a:r>
            <a:br>
              <a:rPr lang="en-CA" dirty="0"/>
            </a:br>
            <a:r>
              <a:rPr lang="en-CA" dirty="0"/>
              <a:t>F-Serie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11A4C72-3D6E-407F-9165-6AAF5F7344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CA" sz="2200" dirty="0"/>
              <a:t>September 2020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1AE3F4-49BE-4757-BDFC-0614BFC4B3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A2D7D7-F837-4407-BF8D-CD25DE531AC7}"/>
              </a:ext>
            </a:extLst>
          </p:cNvPr>
          <p:cNvSpPr/>
          <p:nvPr/>
        </p:nvSpPr>
        <p:spPr>
          <a:xfrm>
            <a:off x="613191" y="3746500"/>
            <a:ext cx="3347099" cy="25776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Note: I am recreating </a:t>
            </a:r>
            <a:r>
              <a:rPr lang="en-CA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is</a:t>
            </a:r>
            <a:r>
              <a:rPr lang="en-CA" dirty="0">
                <a:solidFill>
                  <a:schemeClr val="bg1"/>
                </a:solidFill>
              </a:rPr>
              <a:t> deck to practice my deck making skills</a:t>
            </a:r>
          </a:p>
          <a:p>
            <a:pPr algn="ctr"/>
            <a:endParaRPr lang="en-CA" dirty="0">
              <a:solidFill>
                <a:schemeClr val="bg1"/>
              </a:solidFill>
            </a:endParaRPr>
          </a:p>
          <a:p>
            <a:pPr algn="ctr"/>
            <a:r>
              <a:rPr lang="en-CA" dirty="0">
                <a:solidFill>
                  <a:schemeClr val="bg1"/>
                </a:solidFill>
              </a:rPr>
              <a:t>ETA: 5ish hours (incl. dinner)</a:t>
            </a:r>
          </a:p>
          <a:p>
            <a:pPr algn="ctr"/>
            <a:endParaRPr lang="en-CA" dirty="0">
              <a:solidFill>
                <a:schemeClr val="bg1"/>
              </a:solidFill>
            </a:endParaRPr>
          </a:p>
          <a:p>
            <a:pPr algn="ctr"/>
            <a:endParaRPr lang="en-CA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0BAA178-4D6C-4806-B6DE-70945F4AA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2477" y="5402262"/>
            <a:ext cx="2175723" cy="73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742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view of a mountain&#10;&#10;Description automatically generated">
            <a:extLst>
              <a:ext uri="{FF2B5EF4-FFF2-40B4-BE49-F238E27FC236}">
                <a16:creationId xmlns:a16="http://schemas.microsoft.com/office/drawing/2014/main" id="{4C8D94A3-C0AE-4C70-A60F-52D96DCE1DC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45"/>
          <a:stretch/>
        </p:blipFill>
        <p:spPr>
          <a:xfrm>
            <a:off x="263525" y="296861"/>
            <a:ext cx="11664951" cy="6264277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2360AE9A-3ECA-4571-8D57-96A11F77D177}"/>
              </a:ext>
            </a:extLst>
          </p:cNvPr>
          <p:cNvSpPr/>
          <p:nvPr/>
        </p:nvSpPr>
        <p:spPr>
          <a:xfrm>
            <a:off x="263525" y="296862"/>
            <a:ext cx="4736492" cy="6264276"/>
          </a:xfrm>
          <a:prstGeom prst="rect">
            <a:avLst/>
          </a:prstGeom>
          <a:solidFill>
            <a:srgbClr val="3FAD9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1E367B1D-7B03-4569-98DF-C151A169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sz="2400" dirty="0"/>
              <a:t>Context for documen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077F895-9A52-4823-BB98-3C972016F5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7" y="2046505"/>
            <a:ext cx="3896783" cy="138249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CA" sz="1600" dirty="0"/>
              <a:t>The importance of the F-Series and Ford to the US economy through the lenses of employment, GDP, and manufacturing impact … were investigated</a:t>
            </a:r>
            <a:endParaRPr lang="en-CA" sz="1600" b="1" dirty="0">
              <a:solidFill>
                <a:schemeClr val="accent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0EBD5FB-8C66-44D9-A46B-998898F1FAA7}"/>
              </a:ext>
            </a:extLst>
          </p:cNvPr>
          <p:cNvSpPr/>
          <p:nvPr/>
        </p:nvSpPr>
        <p:spPr>
          <a:xfrm>
            <a:off x="0" y="1027906"/>
            <a:ext cx="549275" cy="729673"/>
          </a:xfrm>
          <a:prstGeom prst="rect">
            <a:avLst/>
          </a:prstGeom>
          <a:solidFill>
            <a:schemeClr val="accent5">
              <a:alpha val="4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5E3E9447-E2F0-4FDF-9C94-06264A3D5146}"/>
              </a:ext>
            </a:extLst>
          </p:cNvPr>
          <p:cNvSpPr txBox="1">
            <a:spLocks/>
          </p:cNvSpPr>
          <p:nvPr/>
        </p:nvSpPr>
        <p:spPr>
          <a:xfrm>
            <a:off x="838196" y="3819526"/>
            <a:ext cx="3896783" cy="5089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CA" sz="1600" dirty="0"/>
              <a:t>BCG evaluated the impact of the </a:t>
            </a:r>
            <a:br>
              <a:rPr lang="en-CA" sz="1600" dirty="0"/>
            </a:br>
            <a:r>
              <a:rPr lang="en-CA" sz="1600" dirty="0"/>
              <a:t>F-Series and Ford across 4 dimensions:</a:t>
            </a:r>
          </a:p>
          <a:p>
            <a:pPr marL="0" indent="0">
              <a:buNone/>
            </a:pPr>
            <a:endParaRPr lang="en-CA" sz="1600" b="1" dirty="0"/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461BC5C8-9D21-4BB7-9AD8-97B83EE88F95}"/>
              </a:ext>
            </a:extLst>
          </p:cNvPr>
          <p:cNvSpPr txBox="1">
            <a:spLocks/>
          </p:cNvSpPr>
          <p:nvPr/>
        </p:nvSpPr>
        <p:spPr>
          <a:xfrm>
            <a:off x="838196" y="4425158"/>
            <a:ext cx="3896782" cy="18740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rabicPeriod"/>
            </a:pPr>
            <a:r>
              <a:rPr lang="en-CA" sz="1400" dirty="0"/>
              <a:t>Employment impact</a:t>
            </a:r>
          </a:p>
          <a:p>
            <a:pPr marL="342900" indent="-342900">
              <a:buAutoNum type="arabicPeriod"/>
            </a:pPr>
            <a:r>
              <a:rPr lang="en-CA" sz="1400" dirty="0"/>
              <a:t>Economic impact </a:t>
            </a:r>
          </a:p>
          <a:p>
            <a:pPr marL="342900" indent="-342900">
              <a:buAutoNum type="arabicPeriod"/>
            </a:pPr>
            <a:r>
              <a:rPr lang="en-CA" sz="1400" dirty="0"/>
              <a:t>Current and historical US presence </a:t>
            </a:r>
          </a:p>
          <a:p>
            <a:pPr marL="342900" indent="-342900">
              <a:buAutoNum type="arabicPeriod"/>
            </a:pPr>
            <a:r>
              <a:rPr lang="en-CA" sz="1400" dirty="0"/>
              <a:t>Product usage</a:t>
            </a:r>
            <a:endParaRPr lang="en-CA" sz="1400" b="1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7470208-AA38-4515-A74D-9DC6A4CB71BF}"/>
              </a:ext>
            </a:extLst>
          </p:cNvPr>
          <p:cNvSpPr/>
          <p:nvPr/>
        </p:nvSpPr>
        <p:spPr>
          <a:xfrm>
            <a:off x="838197" y="1754405"/>
            <a:ext cx="3896782" cy="190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mmary of the study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F03427D-637B-4732-890B-67AA4F48573B}"/>
              </a:ext>
            </a:extLst>
          </p:cNvPr>
          <p:cNvSpPr/>
          <p:nvPr/>
        </p:nvSpPr>
        <p:spPr>
          <a:xfrm>
            <a:off x="838196" y="3527426"/>
            <a:ext cx="3896782" cy="190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proach</a:t>
            </a:r>
          </a:p>
        </p:txBody>
      </p: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EB7DF7D5-518F-4506-A056-F3A5F30B4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9093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9001ECA-0751-4FCB-A8A3-03C5DC3E16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Employment impact</a:t>
            </a:r>
            <a:br>
              <a:rPr lang="en-CA" dirty="0"/>
            </a:br>
            <a:br>
              <a:rPr lang="en-CA" dirty="0"/>
            </a:br>
            <a:r>
              <a:rPr lang="en-CA" b="0" dirty="0"/>
              <a:t>GDP impact</a:t>
            </a:r>
            <a:br>
              <a:rPr lang="en-CA" b="0" dirty="0"/>
            </a:br>
            <a:br>
              <a:rPr lang="en-CA" b="0" dirty="0"/>
            </a:br>
            <a:r>
              <a:rPr lang="en-CA" b="0" dirty="0"/>
              <a:t>Manufacturing impact</a:t>
            </a:r>
            <a:br>
              <a:rPr lang="en-CA" b="0" dirty="0"/>
            </a:br>
            <a:br>
              <a:rPr lang="en-CA" b="0" dirty="0"/>
            </a:br>
            <a:r>
              <a:rPr lang="en-CA" b="0" dirty="0"/>
              <a:t>Usage impact</a:t>
            </a:r>
          </a:p>
        </p:txBody>
      </p:sp>
      <p:pic>
        <p:nvPicPr>
          <p:cNvPr id="7" name="Picture Placeholder 6" descr="A picture containing person, person, person, dog&#10;&#10;Description automatically generated">
            <a:extLst>
              <a:ext uri="{FF2B5EF4-FFF2-40B4-BE49-F238E27FC236}">
                <a16:creationId xmlns:a16="http://schemas.microsoft.com/office/drawing/2014/main" id="{340DD1A6-258D-461A-896D-FB5DF917FF5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69" r="5277"/>
          <a:stretch/>
        </p:blipFill>
        <p:spPr>
          <a:xfrm>
            <a:off x="4596941" y="296863"/>
            <a:ext cx="7331075" cy="6264275"/>
          </a:xfr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5F8819D-6203-4C7D-B20C-2727884E0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786910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5588996-7581-4628-8E98-F9BEC62B0F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dirty="0"/>
              <a:t>The F-Series supports nearly half a million American jobs</a:t>
            </a:r>
          </a:p>
        </p:txBody>
      </p:sp>
      <p:pic>
        <p:nvPicPr>
          <p:cNvPr id="16" name="Picture Placeholder 15" descr="A person standing in front of a store&#10;&#10;Description automatically generated">
            <a:extLst>
              <a:ext uri="{FF2B5EF4-FFF2-40B4-BE49-F238E27FC236}">
                <a16:creationId xmlns:a16="http://schemas.microsoft.com/office/drawing/2014/main" id="{03C6510B-7594-4469-8908-9B640FA62D9D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848" r="11297" b="9778"/>
          <a:stretch/>
        </p:blipFill>
        <p:spPr>
          <a:xfrm>
            <a:off x="7876048" y="296864"/>
            <a:ext cx="4052427" cy="6254748"/>
          </a:xfrm>
        </p:spPr>
      </p:pic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C5ED768D-1E36-4481-A2C4-88D3F38D7580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246332688"/>
              </p:ext>
            </p:extLst>
          </p:nvPr>
        </p:nvGraphicFramePr>
        <p:xfrm>
          <a:off x="839788" y="2237282"/>
          <a:ext cx="6491287" cy="38412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532FE0-BAA9-4E93-8354-8F611F408A19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en-CA" dirty="0"/>
              <a:t>F-SERIES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D421F040-4C6B-48F7-B36E-0C273EB956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5288" y="6262562"/>
            <a:ext cx="9348787" cy="246221"/>
          </a:xfrm>
        </p:spPr>
        <p:txBody>
          <a:bodyPr/>
          <a:lstStyle/>
          <a:p>
            <a:r>
              <a:rPr lang="en-CA" dirty="0"/>
              <a:t>Sources: A lot of sources go here</a:t>
            </a:r>
            <a:br>
              <a:rPr lang="en-CA" dirty="0"/>
            </a:br>
            <a:r>
              <a:rPr lang="en-CA" dirty="0"/>
              <a:t>Maybe some assumptions! State them here!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F8BBADB-E53C-4D96-AC99-17ACF45CA4BA}"/>
              </a:ext>
            </a:extLst>
          </p:cNvPr>
          <p:cNvSpPr/>
          <p:nvPr/>
        </p:nvSpPr>
        <p:spPr>
          <a:xfrm>
            <a:off x="831850" y="1991061"/>
            <a:ext cx="6499225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i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llustrative:</a:t>
            </a:r>
            <a:r>
              <a:rPr lang="en-US" sz="14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hart title</a:t>
            </a:r>
          </a:p>
        </p:txBody>
      </p:sp>
    </p:spTree>
    <p:extLst>
      <p:ext uri="{BB962C8B-B14F-4D97-AF65-F5344CB8AC3E}">
        <p14:creationId xmlns:p14="http://schemas.microsoft.com/office/powerpoint/2010/main" val="36844398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13CB743-AFBD-4B53-A271-71157614B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Ford USA contributes ~$100 billion to US GDP through production and multiplier effects</a:t>
            </a:r>
          </a:p>
        </p:txBody>
      </p: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15" name="Content Placeholder 14">
                <a:extLst>
                  <a:ext uri="{FF2B5EF4-FFF2-40B4-BE49-F238E27FC236}">
                    <a16:creationId xmlns:a16="http://schemas.microsoft.com/office/drawing/2014/main" id="{0627B386-1E01-4AAD-9334-9998E48F1AC4}"/>
                  </a:ext>
                </a:extLst>
              </p:cNvPr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3972442716"/>
                  </p:ext>
                </p:extLst>
              </p:nvPr>
            </p:nvGraphicFramePr>
            <p:xfrm>
              <a:off x="838200" y="2237283"/>
              <a:ext cx="10515600" cy="393968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15" name="Content Placeholder 14">
                <a:extLst>
                  <a:ext uri="{FF2B5EF4-FFF2-40B4-BE49-F238E27FC236}">
                    <a16:creationId xmlns:a16="http://schemas.microsoft.com/office/drawing/2014/main" id="{0627B386-1E01-4AAD-9334-9998E48F1AC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38200" y="2237283"/>
                <a:ext cx="10515600" cy="3939680"/>
              </a:xfrm>
              <a:prstGeom prst="rect">
                <a:avLst/>
              </a:prstGeom>
            </p:spPr>
          </p:pic>
        </mc:Fallback>
      </mc:AlternateContent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ADB095-71BC-4134-8346-65DB22870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5288" y="6262562"/>
            <a:ext cx="9348787" cy="246221"/>
          </a:xfrm>
        </p:spPr>
        <p:txBody>
          <a:bodyPr/>
          <a:lstStyle/>
          <a:p>
            <a:r>
              <a:rPr lang="en-CA" dirty="0"/>
              <a:t>Sources: Probably a lot</a:t>
            </a:r>
          </a:p>
          <a:p>
            <a:r>
              <a:rPr lang="en-CA" dirty="0"/>
              <a:t>Assumptions! Yeah a lot of those too!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A7C04B7-045E-4D32-8FFF-A70F8DAA7E17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CA" dirty="0"/>
              <a:t>FOR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D364C9-B018-4C34-8D41-B50FFA2F2F3D}"/>
              </a:ext>
            </a:extLst>
          </p:cNvPr>
          <p:cNvSpPr/>
          <p:nvPr/>
        </p:nvSpPr>
        <p:spPr>
          <a:xfrm>
            <a:off x="831850" y="1991061"/>
            <a:ext cx="6499225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i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llustrative: </a:t>
            </a:r>
            <a:r>
              <a:rPr lang="en-US" sz="14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 love waterfall charts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4E66CA5-B19E-4F4A-AADB-DDB6FE026B39}"/>
              </a:ext>
            </a:extLst>
          </p:cNvPr>
          <p:cNvCxnSpPr>
            <a:cxnSpLocks/>
          </p:cNvCxnSpPr>
          <p:nvPr/>
        </p:nvCxnSpPr>
        <p:spPr>
          <a:xfrm>
            <a:off x="6388100" y="2933700"/>
            <a:ext cx="1130300" cy="0"/>
          </a:xfrm>
          <a:prstGeom prst="straightConnector1">
            <a:avLst/>
          </a:prstGeom>
          <a:ln w="31750">
            <a:headEnd type="oval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5AC3C98D-33E5-492F-98DE-1DBA9A0A704B}"/>
              </a:ext>
            </a:extLst>
          </p:cNvPr>
          <p:cNvCxnSpPr>
            <a:cxnSpLocks/>
          </p:cNvCxnSpPr>
          <p:nvPr/>
        </p:nvCxnSpPr>
        <p:spPr>
          <a:xfrm>
            <a:off x="8991600" y="2933700"/>
            <a:ext cx="1130300" cy="0"/>
          </a:xfrm>
          <a:prstGeom prst="straightConnector1">
            <a:avLst/>
          </a:prstGeom>
          <a:ln w="31750">
            <a:headEnd type="none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6777CF2-F441-4F4B-8629-1A2128B54FC1}"/>
              </a:ext>
            </a:extLst>
          </p:cNvPr>
          <p:cNvSpPr/>
          <p:nvPr/>
        </p:nvSpPr>
        <p:spPr>
          <a:xfrm>
            <a:off x="7518401" y="2810589"/>
            <a:ext cx="1473199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fter sales and re-spending (42B)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BE61AFD-A8CD-4179-A60A-CF87DED19DC4}"/>
              </a:ext>
            </a:extLst>
          </p:cNvPr>
          <p:cNvSpPr/>
          <p:nvPr/>
        </p:nvSpPr>
        <p:spPr>
          <a:xfrm>
            <a:off x="7518401" y="2494003"/>
            <a:ext cx="1473199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ultiplier Effect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D3209B75-1351-4C99-8621-E2D8A2D09D39}"/>
              </a:ext>
            </a:extLst>
          </p:cNvPr>
          <p:cNvCxnSpPr>
            <a:cxnSpLocks/>
            <a:endCxn id="28" idx="1"/>
          </p:cNvCxnSpPr>
          <p:nvPr/>
        </p:nvCxnSpPr>
        <p:spPr>
          <a:xfrm>
            <a:off x="1422400" y="3429000"/>
            <a:ext cx="1130301" cy="0"/>
          </a:xfrm>
          <a:prstGeom prst="straightConnector1">
            <a:avLst/>
          </a:prstGeom>
          <a:ln w="31750">
            <a:headEnd type="oval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CB635A1C-5BA6-45B3-A3EE-0F23D6131DC0}"/>
              </a:ext>
            </a:extLst>
          </p:cNvPr>
          <p:cNvCxnSpPr>
            <a:cxnSpLocks/>
            <a:stCxn id="28" idx="3"/>
          </p:cNvCxnSpPr>
          <p:nvPr/>
        </p:nvCxnSpPr>
        <p:spPr>
          <a:xfrm>
            <a:off x="5245100" y="3429000"/>
            <a:ext cx="846521" cy="0"/>
          </a:xfrm>
          <a:prstGeom prst="straightConnector1">
            <a:avLst/>
          </a:prstGeom>
          <a:ln w="31750">
            <a:headEnd type="none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2E7E7B75-3D59-43AD-8523-D55B14AAEB5F}"/>
              </a:ext>
            </a:extLst>
          </p:cNvPr>
          <p:cNvSpPr/>
          <p:nvPr/>
        </p:nvSpPr>
        <p:spPr>
          <a:xfrm>
            <a:off x="2552701" y="3305889"/>
            <a:ext cx="2692399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A" sz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nufacturing and sales </a:t>
            </a:r>
            <a:br>
              <a:rPr lang="en-CA" sz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CA" sz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$58 billion)</a:t>
            </a:r>
            <a:endParaRPr lang="en-US" sz="12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5153192-9805-40FD-A162-EB35336E1920}"/>
              </a:ext>
            </a:extLst>
          </p:cNvPr>
          <p:cNvSpPr/>
          <p:nvPr/>
        </p:nvSpPr>
        <p:spPr>
          <a:xfrm>
            <a:off x="2552701" y="2989303"/>
            <a:ext cx="2692399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duct GDP contribution</a:t>
            </a:r>
          </a:p>
        </p:txBody>
      </p:sp>
    </p:spTree>
    <p:extLst>
      <p:ext uri="{BB962C8B-B14F-4D97-AF65-F5344CB8AC3E}">
        <p14:creationId xmlns:p14="http://schemas.microsoft.com/office/powerpoint/2010/main" val="1824049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 Theme">
  <a:themeElements>
    <a:clrScheme name="BCGFord">
      <a:dk1>
        <a:srgbClr val="555657"/>
      </a:dk1>
      <a:lt1>
        <a:srgbClr val="FFFFFF"/>
      </a:lt1>
      <a:dk2>
        <a:srgbClr val="555657"/>
      </a:dk2>
      <a:lt2>
        <a:srgbClr val="FFFFFF"/>
      </a:lt2>
      <a:accent1>
        <a:srgbClr val="3FAD92"/>
      </a:accent1>
      <a:accent2>
        <a:srgbClr val="3FAD92"/>
      </a:accent2>
      <a:accent3>
        <a:srgbClr val="29BA74"/>
      </a:accent3>
      <a:accent4>
        <a:srgbClr val="62BBA6"/>
      </a:accent4>
      <a:accent5>
        <a:srgbClr val="DBF0DD"/>
      </a:accent5>
      <a:accent6>
        <a:srgbClr val="E3F3DD"/>
      </a:accent6>
      <a:hlink>
        <a:srgbClr val="3FAD92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9</TotalTime>
  <Words>198</Words>
  <Application>Microsoft Office PowerPoint</Application>
  <PresentationFormat>Widescreen</PresentationFormat>
  <Paragraphs>29</Paragraphs>
  <Slides>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Open Sans</vt:lpstr>
      <vt:lpstr>Office Theme</vt:lpstr>
      <vt:lpstr>The Economic Impact of  Ford and the  F-Series</vt:lpstr>
      <vt:lpstr>Context for document</vt:lpstr>
      <vt:lpstr>Employment impact  GDP impact  Manufacturing impact  Usage impact</vt:lpstr>
      <vt:lpstr>The F-Series supports nearly half a million American jobs</vt:lpstr>
      <vt:lpstr>Ford USA contributes ~$100 billion to US GDP through production and multiplier effe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tch</dc:creator>
  <cp:lastModifiedBy>Mitch</cp:lastModifiedBy>
  <cp:revision>26</cp:revision>
  <dcterms:created xsi:type="dcterms:W3CDTF">2020-12-21T21:46:05Z</dcterms:created>
  <dcterms:modified xsi:type="dcterms:W3CDTF">2020-12-22T02:53:43Z</dcterms:modified>
</cp:coreProperties>
</file>